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omments/modernComment_169_D96C2634.xml" ContentType="application/vnd.ms-powerpoint.comments+xml"/>
  <Override PartName="/ppt/tags/tag10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11"/>
  </p:notesMasterIdLst>
  <p:sldIdLst>
    <p:sldId id="256" r:id="rId2"/>
    <p:sldId id="363" r:id="rId3"/>
    <p:sldId id="356" r:id="rId4"/>
    <p:sldId id="357" r:id="rId5"/>
    <p:sldId id="358" r:id="rId6"/>
    <p:sldId id="359" r:id="rId7"/>
    <p:sldId id="360" r:id="rId8"/>
    <p:sldId id="361" r:id="rId9"/>
    <p:sldId id="362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47FC66-40FE-10D5-F185-7D9175C748C7}" name="van der Nest, Gavin SITI-PTIX/DS" initials="vdNGSP" userId="S::Gavin.vanderNest@shell.com::fa2c04c9-63ca-4864-81ed-384f36c40a9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1D1B1E"/>
    <a:srgbClr val="020003"/>
    <a:srgbClr val="DD1D2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-14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modernComment_169_D96C263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C20D2D2-E386-4383-A3BF-BD87E8F06AE9}" authorId="{6047FC66-40FE-10D5-F185-7D9175C748C7}" created="2024-08-08T09:52:12.483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647743540" sldId="361"/>
      <ac:picMk id="16" creationId="{A93A8CBB-7830-6B0E-B59C-BFF9D81B3DDE}"/>
    </ac:deMkLst>
    <p188:txBody>
      <a:bodyPr/>
      <a:lstStyle/>
      <a:p>
        <a:r>
          <a:rPr lang="en-GB"/>
          <a:t>Red is risk averse: Middle consistently risk avers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3BE72C-3D59-4AAD-A161-46E9E059B258}" type="datetimeFigureOut">
              <a:rPr lang="en-GB" smtClean="0">
                <a:latin typeface="ShellMedium" panose="00000600000000000000" pitchFamily="50" charset="0"/>
              </a:rPr>
              <a:t>08/08/2024</a:t>
            </a:fld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ShellMedium" panose="00000600000000000000" pitchFamily="50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427BF2-3293-4ACB-AF08-531C60ED91C2}" type="slidenum">
              <a:rPr lang="en-GB" smtClean="0">
                <a:latin typeface="ShellMedium" panose="00000600000000000000" pitchFamily="50" charset="0"/>
              </a:rPr>
              <a:t>‹#›</a:t>
            </a:fld>
            <a:endParaRPr lang="en-GB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934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1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395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3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195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4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876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ti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9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24"/>
            <a:ext cx="12193293" cy="68572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6800" y="2754403"/>
            <a:ext cx="9973373" cy="918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6800" y="3805856"/>
            <a:ext cx="9976548" cy="74980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6800" y="4832087"/>
            <a:ext cx="78711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6800" y="5083916"/>
            <a:ext cx="78711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4D996E69-301B-1FE1-F15F-0EE1A74B3AC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7278294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dirty="0" smtClean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472014" y="1688400"/>
            <a:ext cx="5207224" cy="4672970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tabLst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4" y="1686554"/>
            <a:ext cx="5211763" cy="4672971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EF9E4004-822F-8E23-31B0-3905B6592E0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333965"/>
      </p:ext>
    </p:extLst>
  </p:cSld>
  <p:clrMapOvr>
    <a:masterClrMapping/>
  </p:clrMapOvr>
  <p:transition/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047384" y="0"/>
            <a:ext cx="7144616" cy="6857999"/>
          </a:xfrm>
          <a:custGeom>
            <a:avLst/>
            <a:gdLst>
              <a:gd name="connsiteX0" fmla="*/ 0 w 7141676"/>
              <a:gd name="connsiteY0" fmla="*/ 0 h 6316132"/>
              <a:gd name="connsiteX1" fmla="*/ 7141676 w 7141676"/>
              <a:gd name="connsiteY1" fmla="*/ 0 h 6316132"/>
              <a:gd name="connsiteX2" fmla="*/ 7141676 w 7141676"/>
              <a:gd name="connsiteY2" fmla="*/ 6316132 h 6316132"/>
              <a:gd name="connsiteX3" fmla="*/ 0 w 7141676"/>
              <a:gd name="connsiteY3" fmla="*/ 6316132 h 6316132"/>
              <a:gd name="connsiteX4" fmla="*/ 0 w 7141676"/>
              <a:gd name="connsiteY4" fmla="*/ 0 h 6316132"/>
              <a:gd name="connsiteX0" fmla="*/ 2940 w 7144616"/>
              <a:gd name="connsiteY0" fmla="*/ 0 h 6316132"/>
              <a:gd name="connsiteX1" fmla="*/ 7144616 w 7144616"/>
              <a:gd name="connsiteY1" fmla="*/ 0 h 6316132"/>
              <a:gd name="connsiteX2" fmla="*/ 7144616 w 7144616"/>
              <a:gd name="connsiteY2" fmla="*/ 6316132 h 6316132"/>
              <a:gd name="connsiteX3" fmla="*/ 2940 w 7144616"/>
              <a:gd name="connsiteY3" fmla="*/ 6316132 h 6316132"/>
              <a:gd name="connsiteX4" fmla="*/ 0 w 7144616"/>
              <a:gd name="connsiteY4" fmla="*/ 5779942 h 6316132"/>
              <a:gd name="connsiteX5" fmla="*/ 2940 w 7144616"/>
              <a:gd name="connsiteY5" fmla="*/ 0 h 6316132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2940 w 7144616"/>
              <a:gd name="connsiteY4" fmla="*/ 6316132 h 6316773"/>
              <a:gd name="connsiteX5" fmla="*/ 0 w 7144616"/>
              <a:gd name="connsiteY5" fmla="*/ 5779942 h 6316773"/>
              <a:gd name="connsiteX6" fmla="*/ 2940 w 7144616"/>
              <a:gd name="connsiteY6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7008"/>
              <a:gd name="connsiteX1" fmla="*/ 7144616 w 7144616"/>
              <a:gd name="connsiteY1" fmla="*/ 0 h 6317008"/>
              <a:gd name="connsiteX2" fmla="*/ 7144616 w 7144616"/>
              <a:gd name="connsiteY2" fmla="*/ 6316132 h 6317008"/>
              <a:gd name="connsiteX3" fmla="*/ 537870 w 7144616"/>
              <a:gd name="connsiteY3" fmla="*/ 6316773 h 6317008"/>
              <a:gd name="connsiteX4" fmla="*/ 0 w 7144616"/>
              <a:gd name="connsiteY4" fmla="*/ 5779942 h 6317008"/>
              <a:gd name="connsiteX5" fmla="*/ 2940 w 7144616"/>
              <a:gd name="connsiteY5" fmla="*/ 0 h 6317008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44616" h="6316773">
                <a:moveTo>
                  <a:pt x="2940" y="0"/>
                </a:moveTo>
                <a:lnTo>
                  <a:pt x="7144616" y="0"/>
                </a:lnTo>
                <a:lnTo>
                  <a:pt x="7144616" y="6316132"/>
                </a:lnTo>
                <a:lnTo>
                  <a:pt x="537870" y="6316773"/>
                </a:lnTo>
                <a:cubicBezTo>
                  <a:pt x="214457" y="6313295"/>
                  <a:pt x="5024" y="6140981"/>
                  <a:pt x="0" y="5779942"/>
                </a:cubicBezTo>
                <a:lnTo>
                  <a:pt x="2940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4425244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5" y="1665286"/>
            <a:ext cx="3829404" cy="4694239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/>
            </a:lvl2pPr>
            <a:lvl3pPr marL="459000" indent="-228600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2A716F38-F65D-ED57-012A-583073C34D1D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955544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850" cap="none" baseline="0">
                <a:solidFill>
                  <a:schemeClr val="tx1"/>
                </a:solidFill>
                <a:latin typeface="ShellMedium" panose="00000600000000000000" pitchFamily="50" charset="0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4116538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780690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4116538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780690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2CE79B5F-408F-5C9F-BB5E-5975632B0E4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633109"/>
      </p:ext>
    </p:extLst>
  </p:cSld>
  <p:clrMapOvr>
    <a:masterClrMapping/>
  </p:clrMapOvr>
  <p:transition/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aph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850" cap="none" baseline="0">
                <a:solidFill>
                  <a:schemeClr val="tx1"/>
                </a:solidFill>
                <a:latin typeface="ShellMedium" panose="00000600000000000000" pitchFamily="50" charset="0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4116538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780690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4116538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780690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11"/>
          </p:nvPr>
        </p:nvSpPr>
        <p:spPr>
          <a:xfrm>
            <a:off x="509312" y="4510882"/>
            <a:ext cx="546762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63"/>
          </p:nvPr>
        </p:nvSpPr>
        <p:spPr>
          <a:xfrm>
            <a:off x="6215063" y="4510882"/>
            <a:ext cx="546762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43AE0233-FF10-1FEB-D1D0-3D5F6E46AFA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4120028"/>
      </p:ext>
    </p:extLst>
  </p:cSld>
  <p:clrMapOvr>
    <a:masterClrMapping/>
  </p:clrMapOvr>
  <p:transition/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850" cap="none" baseline="0">
                <a:solidFill>
                  <a:schemeClr val="tx1"/>
                </a:solidFill>
                <a:latin typeface="ShellMedium" panose="00000600000000000000" pitchFamily="50" charset="0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7999" y="4116538"/>
            <a:ext cx="26066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7999" y="1780690"/>
            <a:ext cx="26066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7999" y="2120382"/>
            <a:ext cx="26066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35536" y="4116538"/>
            <a:ext cx="2606400" cy="256352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35536" y="1780690"/>
            <a:ext cx="2606400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35536" y="2120382"/>
            <a:ext cx="2606400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11"/>
          </p:nvPr>
        </p:nvSpPr>
        <p:spPr>
          <a:xfrm>
            <a:off x="509312" y="4510882"/>
            <a:ext cx="2606050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63"/>
          </p:nvPr>
        </p:nvSpPr>
        <p:spPr>
          <a:xfrm>
            <a:off x="6235534" y="4510882"/>
            <a:ext cx="260804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51"/>
          <p:cNvSpPr>
            <a:spLocks noGrp="1"/>
          </p:cNvSpPr>
          <p:nvPr>
            <p:ph sz="quarter" idx="64" hasCustomPrompt="1"/>
          </p:nvPr>
        </p:nvSpPr>
        <p:spPr>
          <a:xfrm>
            <a:off x="3369575" y="4116538"/>
            <a:ext cx="26066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22" name="Content Placeholder 51"/>
          <p:cNvSpPr>
            <a:spLocks noGrp="1"/>
          </p:cNvSpPr>
          <p:nvPr>
            <p:ph sz="quarter" idx="65" hasCustomPrompt="1"/>
          </p:nvPr>
        </p:nvSpPr>
        <p:spPr>
          <a:xfrm>
            <a:off x="3369575" y="1780690"/>
            <a:ext cx="26066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23" name="Chart Placeholder 16"/>
          <p:cNvSpPr>
            <a:spLocks noGrp="1"/>
          </p:cNvSpPr>
          <p:nvPr>
            <p:ph type="chart" sz="quarter" idx="66"/>
          </p:nvPr>
        </p:nvSpPr>
        <p:spPr>
          <a:xfrm>
            <a:off x="3369575" y="2120382"/>
            <a:ext cx="26066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24" name="Content Placeholder 9"/>
          <p:cNvSpPr>
            <a:spLocks noGrp="1"/>
          </p:cNvSpPr>
          <p:nvPr>
            <p:ph sz="quarter" idx="67"/>
          </p:nvPr>
        </p:nvSpPr>
        <p:spPr>
          <a:xfrm>
            <a:off x="3370888" y="4510882"/>
            <a:ext cx="2606050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7" name="Content Placeholder 51"/>
          <p:cNvSpPr>
            <a:spLocks noGrp="1"/>
          </p:cNvSpPr>
          <p:nvPr>
            <p:ph sz="quarter" idx="68" hasCustomPrompt="1"/>
          </p:nvPr>
        </p:nvSpPr>
        <p:spPr>
          <a:xfrm>
            <a:off x="9071193" y="4116538"/>
            <a:ext cx="2606400" cy="256352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Subtitle appears here</a:t>
            </a:r>
          </a:p>
        </p:txBody>
      </p:sp>
      <p:sp>
        <p:nvSpPr>
          <p:cNvPr id="48" name="Content Placeholder 51"/>
          <p:cNvSpPr>
            <a:spLocks noGrp="1"/>
          </p:cNvSpPr>
          <p:nvPr>
            <p:ph sz="quarter" idx="69" hasCustomPrompt="1"/>
          </p:nvPr>
        </p:nvSpPr>
        <p:spPr>
          <a:xfrm>
            <a:off x="9071193" y="1780690"/>
            <a:ext cx="2606400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sp>
        <p:nvSpPr>
          <p:cNvPr id="49" name="Chart Placeholder 16"/>
          <p:cNvSpPr>
            <a:spLocks noGrp="1"/>
          </p:cNvSpPr>
          <p:nvPr>
            <p:ph type="chart" sz="quarter" idx="70"/>
          </p:nvPr>
        </p:nvSpPr>
        <p:spPr>
          <a:xfrm>
            <a:off x="9071193" y="2120382"/>
            <a:ext cx="2606400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sp>
        <p:nvSpPr>
          <p:cNvPr id="50" name="Content Placeholder 9"/>
          <p:cNvSpPr>
            <a:spLocks noGrp="1"/>
          </p:cNvSpPr>
          <p:nvPr>
            <p:ph sz="quarter" idx="71"/>
          </p:nvPr>
        </p:nvSpPr>
        <p:spPr>
          <a:xfrm>
            <a:off x="9071191" y="4510882"/>
            <a:ext cx="260804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ACBFB7F5-4C7E-294A-789E-619E4FFEC25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787740"/>
      </p:ext>
    </p:extLst>
  </p:cSld>
  <p:clrMapOvr>
    <a:masterClrMapping/>
  </p:clrMapOvr>
  <p:transition/>
  <p:hf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Picture 10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8" t="3243" r="26982"/>
          <a:stretch/>
        </p:blipFill>
        <p:spPr>
          <a:xfrm flipH="1">
            <a:off x="0" y="0"/>
            <a:ext cx="8067404" cy="6858000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01520" y="4826000"/>
            <a:ext cx="4077539" cy="89596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01520" y="3258524"/>
            <a:ext cx="4077539" cy="150886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32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19994" y="1908483"/>
            <a:ext cx="2724653" cy="1123888"/>
          </a:xfrm>
          <a:prstGeom prst="rect">
            <a:avLst/>
          </a:prstGeom>
        </p:spPr>
        <p:txBody>
          <a:bodyPr lIns="0" tIns="0" rIns="0" bIns="0"/>
          <a:lstStyle>
            <a:lvl1pPr marL="0" algn="l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7300" kern="10000" spc="-600" baseline="0" dirty="0">
                <a:ln w="3175">
                  <a:noFill/>
                </a:ln>
                <a:solidFill>
                  <a:schemeClr val="accent2"/>
                </a:solidFill>
                <a:latin typeface="ShellHeavy" panose="00000700000000000000" pitchFamily="2" charset="0"/>
                <a:ea typeface="ShellHeavy" panose="00000700000000000000" pitchFamily="2" charset="0"/>
                <a:cs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0.1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A8E23B5B-8D67-E57E-B263-FC312F603BC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568023"/>
      </p:ext>
    </p:extLst>
  </p:cSld>
  <p:clrMapOvr>
    <a:masterClrMapping/>
  </p:clrMapOvr>
  <p:transition/>
  <p:hf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gray">
          <a:xfrm>
            <a:off x="-4046" y="483102"/>
            <a:ext cx="1394397" cy="184552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/>
          <p:cNvSpPr/>
          <p:nvPr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578475" y="0"/>
            <a:ext cx="6616248" cy="6857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5175" y="3258523"/>
            <a:ext cx="4066542" cy="1508861"/>
          </a:xfrm>
          <a:noFill/>
        </p:spPr>
        <p:txBody>
          <a:bodyPr lIns="0" tIns="0" rIns="0"/>
          <a:lstStyle>
            <a:lvl1pPr>
              <a:defRPr sz="32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72990" y="4826586"/>
            <a:ext cx="4066542" cy="8953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6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5B1DF599-D42D-5781-20D9-7C724CF61EB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957323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260">
          <p15:clr>
            <a:srgbClr val="FBAE40"/>
          </p15:clr>
        </p15:guide>
        <p15:guide id="3" orient="horz" pos="23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AB4E8CAD-15FC-E8A9-E206-3C9C086FA0B2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7783661"/>
      </p:ext>
    </p:extLst>
  </p:cSld>
  <p:clrMapOvr>
    <a:masterClrMapping/>
  </p:clrMapOvr>
  <p:transition/>
  <p:hf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681888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8422C3A4-8DD9-1F1E-7DEB-0A6D141EB3F4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5247363"/>
      </p:ext>
    </p:extLst>
  </p:cSld>
  <p:clrMapOvr>
    <a:masterClrMapping/>
  </p:clrMapOvr>
  <p:transition/>
  <p:hf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" t="45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34" r="47297" b="27130"/>
          <a:stretch/>
        </p:blipFill>
        <p:spPr>
          <a:xfrm>
            <a:off x="5207633" y="0"/>
            <a:ext cx="6999607" cy="68580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234462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r>
              <a:rPr lang="en-GB" dirty="0"/>
              <a:t>Click to edit Master title style, if required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800" y="723550"/>
            <a:ext cx="6375761" cy="1400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600" b="0" cap="none" baseline="0">
                <a:solidFill>
                  <a:srgbClr val="FFC600"/>
                </a:solidFill>
                <a:latin typeface="ShellHeavy" panose="00000700000000000000" pitchFamily="2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Q&amp;A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bg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/>
        </p:nvSpPr>
        <p:spPr bwMode="gray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bg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bg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bg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EE8AAA6B-E291-89BC-71D7-E7F15BA0CC3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3496911"/>
      </p:ext>
    </p:extLst>
  </p:cSld>
  <p:clrMapOvr>
    <a:masterClrMapping/>
  </p:clrMapOvr>
  <p:transition/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5175" y="2286000"/>
            <a:ext cx="4143255" cy="1386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5175" y="3805200"/>
            <a:ext cx="4060821" cy="74980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5175" y="4831200"/>
            <a:ext cx="40608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5083200"/>
            <a:ext cx="4060821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047384" y="1"/>
            <a:ext cx="7144616" cy="6359524"/>
          </a:xfrm>
          <a:custGeom>
            <a:avLst/>
            <a:gdLst>
              <a:gd name="connsiteX0" fmla="*/ 0 w 7141676"/>
              <a:gd name="connsiteY0" fmla="*/ 0 h 6316132"/>
              <a:gd name="connsiteX1" fmla="*/ 7141676 w 7141676"/>
              <a:gd name="connsiteY1" fmla="*/ 0 h 6316132"/>
              <a:gd name="connsiteX2" fmla="*/ 7141676 w 7141676"/>
              <a:gd name="connsiteY2" fmla="*/ 6316132 h 6316132"/>
              <a:gd name="connsiteX3" fmla="*/ 0 w 7141676"/>
              <a:gd name="connsiteY3" fmla="*/ 6316132 h 6316132"/>
              <a:gd name="connsiteX4" fmla="*/ 0 w 7141676"/>
              <a:gd name="connsiteY4" fmla="*/ 0 h 6316132"/>
              <a:gd name="connsiteX0" fmla="*/ 2940 w 7144616"/>
              <a:gd name="connsiteY0" fmla="*/ 0 h 6316132"/>
              <a:gd name="connsiteX1" fmla="*/ 7144616 w 7144616"/>
              <a:gd name="connsiteY1" fmla="*/ 0 h 6316132"/>
              <a:gd name="connsiteX2" fmla="*/ 7144616 w 7144616"/>
              <a:gd name="connsiteY2" fmla="*/ 6316132 h 6316132"/>
              <a:gd name="connsiteX3" fmla="*/ 2940 w 7144616"/>
              <a:gd name="connsiteY3" fmla="*/ 6316132 h 6316132"/>
              <a:gd name="connsiteX4" fmla="*/ 0 w 7144616"/>
              <a:gd name="connsiteY4" fmla="*/ 5779942 h 6316132"/>
              <a:gd name="connsiteX5" fmla="*/ 2940 w 7144616"/>
              <a:gd name="connsiteY5" fmla="*/ 0 h 6316132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2940 w 7144616"/>
              <a:gd name="connsiteY4" fmla="*/ 6316132 h 6316773"/>
              <a:gd name="connsiteX5" fmla="*/ 0 w 7144616"/>
              <a:gd name="connsiteY5" fmla="*/ 5779942 h 6316773"/>
              <a:gd name="connsiteX6" fmla="*/ 2940 w 7144616"/>
              <a:gd name="connsiteY6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7008"/>
              <a:gd name="connsiteX1" fmla="*/ 7144616 w 7144616"/>
              <a:gd name="connsiteY1" fmla="*/ 0 h 6317008"/>
              <a:gd name="connsiteX2" fmla="*/ 7144616 w 7144616"/>
              <a:gd name="connsiteY2" fmla="*/ 6316132 h 6317008"/>
              <a:gd name="connsiteX3" fmla="*/ 537870 w 7144616"/>
              <a:gd name="connsiteY3" fmla="*/ 6316773 h 6317008"/>
              <a:gd name="connsiteX4" fmla="*/ 0 w 7144616"/>
              <a:gd name="connsiteY4" fmla="*/ 5779942 h 6317008"/>
              <a:gd name="connsiteX5" fmla="*/ 2940 w 7144616"/>
              <a:gd name="connsiteY5" fmla="*/ 0 h 6317008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44616" h="6316773">
                <a:moveTo>
                  <a:pt x="2940" y="0"/>
                </a:moveTo>
                <a:lnTo>
                  <a:pt x="7144616" y="0"/>
                </a:lnTo>
                <a:lnTo>
                  <a:pt x="7144616" y="6316132"/>
                </a:lnTo>
                <a:lnTo>
                  <a:pt x="537870" y="6316773"/>
                </a:lnTo>
                <a:cubicBezTo>
                  <a:pt x="214457" y="6313295"/>
                  <a:pt x="5024" y="6140981"/>
                  <a:pt x="0" y="5779942"/>
                </a:cubicBezTo>
                <a:lnTo>
                  <a:pt x="2940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FEB9D0F9-36C4-7398-4AD1-69AF42DCF43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2087540"/>
      </p:ext>
    </p:extLst>
  </p:cSld>
  <p:clrMapOvr>
    <a:masterClrMapping/>
  </p:clrMapOvr>
  <p:transition/>
  <p:hf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&amp;A - Opt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34" r="47297" b="27130"/>
          <a:stretch/>
        </p:blipFill>
        <p:spPr>
          <a:xfrm>
            <a:off x="5207633" y="0"/>
            <a:ext cx="6999607" cy="68580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4169538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r>
              <a:rPr lang="en-GB" dirty="0"/>
              <a:t>Click to edit Master title style, if required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800" y="2548468"/>
            <a:ext cx="6375761" cy="1400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600" b="0" cap="none" baseline="0">
                <a:solidFill>
                  <a:schemeClr val="accent2"/>
                </a:solidFill>
                <a:latin typeface="ShellHeavy" panose="00000700000000000000" pitchFamily="2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 dirty="0"/>
              <a:t>Q&amp;A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538318AA-6AF7-BC4E-CD11-87CE3AE47E0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3025940"/>
      </p:ext>
    </p:extLst>
  </p:cSld>
  <p:clrMapOvr>
    <a:masterClrMapping/>
  </p:clrMapOvr>
  <p:transition/>
  <p:hf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3152A2FE-A8AD-1626-2EDE-CA10714BD03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844262"/>
      </p:ext>
    </p:extLst>
  </p:cSld>
  <p:clrMapOvr>
    <a:masterClrMapping/>
  </p:clrMapOvr>
  <p:transition/>
  <p:hf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462073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077731" y="1015519"/>
            <a:ext cx="7115469" cy="5344822"/>
          </a:xfrm>
          <a:custGeom>
            <a:avLst/>
            <a:gdLst>
              <a:gd name="connsiteX0" fmla="*/ 0 w 7113204"/>
              <a:gd name="connsiteY0" fmla="*/ 0 h 5343523"/>
              <a:gd name="connsiteX1" fmla="*/ 7113204 w 7113204"/>
              <a:gd name="connsiteY1" fmla="*/ 0 h 5343523"/>
              <a:gd name="connsiteX2" fmla="*/ 7113204 w 7113204"/>
              <a:gd name="connsiteY2" fmla="*/ 5343523 h 5343523"/>
              <a:gd name="connsiteX3" fmla="*/ 0 w 7113204"/>
              <a:gd name="connsiteY3" fmla="*/ 5343523 h 5343523"/>
              <a:gd name="connsiteX4" fmla="*/ 0 w 7113204"/>
              <a:gd name="connsiteY4" fmla="*/ 0 h 5343523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0 w 7113204"/>
              <a:gd name="connsiteY4" fmla="*/ 5343523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0 w 7113204"/>
              <a:gd name="connsiteY4" fmla="*/ 5343523 h 5344338"/>
              <a:gd name="connsiteX5" fmla="*/ 1802 w 7113204"/>
              <a:gd name="connsiteY5" fmla="*/ 4810262 h 5344338"/>
              <a:gd name="connsiteX6" fmla="*/ 0 w 7113204"/>
              <a:gd name="connsiteY6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453 h 5344791"/>
              <a:gd name="connsiteX1" fmla="*/ 519692 w 7113204"/>
              <a:gd name="connsiteY1" fmla="*/ 0 h 5344791"/>
              <a:gd name="connsiteX2" fmla="*/ 7113204 w 7113204"/>
              <a:gd name="connsiteY2" fmla="*/ 453 h 5344791"/>
              <a:gd name="connsiteX3" fmla="*/ 7113204 w 7113204"/>
              <a:gd name="connsiteY3" fmla="*/ 5343976 h 5344791"/>
              <a:gd name="connsiteX4" fmla="*/ 503508 w 7113204"/>
              <a:gd name="connsiteY4" fmla="*/ 5344791 h 5344791"/>
              <a:gd name="connsiteX5" fmla="*/ 1802 w 7113204"/>
              <a:gd name="connsiteY5" fmla="*/ 4810715 h 5344791"/>
              <a:gd name="connsiteX6" fmla="*/ 0 w 7113204"/>
              <a:gd name="connsiteY6" fmla="*/ 453 h 5344791"/>
              <a:gd name="connsiteX0" fmla="*/ 39320 w 7152524"/>
              <a:gd name="connsiteY0" fmla="*/ 48299 h 5392637"/>
              <a:gd name="connsiteX1" fmla="*/ 559012 w 7152524"/>
              <a:gd name="connsiteY1" fmla="*/ 47846 h 5392637"/>
              <a:gd name="connsiteX2" fmla="*/ 7152524 w 7152524"/>
              <a:gd name="connsiteY2" fmla="*/ 48299 h 5392637"/>
              <a:gd name="connsiteX3" fmla="*/ 7152524 w 7152524"/>
              <a:gd name="connsiteY3" fmla="*/ 5391822 h 5392637"/>
              <a:gd name="connsiteX4" fmla="*/ 542828 w 7152524"/>
              <a:gd name="connsiteY4" fmla="*/ 5392637 h 5392637"/>
              <a:gd name="connsiteX5" fmla="*/ 41122 w 7152524"/>
              <a:gd name="connsiteY5" fmla="*/ 4858561 h 5392637"/>
              <a:gd name="connsiteX6" fmla="*/ 37076 w 7152524"/>
              <a:gd name="connsiteY6" fmla="*/ 496955 h 5392637"/>
              <a:gd name="connsiteX7" fmla="*/ 39320 w 7152524"/>
              <a:gd name="connsiteY7" fmla="*/ 48299 h 5392637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84805 w 7300253"/>
              <a:gd name="connsiteY0" fmla="*/ 449109 h 5344791"/>
              <a:gd name="connsiteX1" fmla="*/ 706741 w 7300253"/>
              <a:gd name="connsiteY1" fmla="*/ 0 h 5344791"/>
              <a:gd name="connsiteX2" fmla="*/ 7300253 w 7300253"/>
              <a:gd name="connsiteY2" fmla="*/ 453 h 5344791"/>
              <a:gd name="connsiteX3" fmla="*/ 7300253 w 7300253"/>
              <a:gd name="connsiteY3" fmla="*/ 5343976 h 5344791"/>
              <a:gd name="connsiteX4" fmla="*/ 690557 w 7300253"/>
              <a:gd name="connsiteY4" fmla="*/ 5344791 h 5344791"/>
              <a:gd name="connsiteX5" fmla="*/ 188851 w 7300253"/>
              <a:gd name="connsiteY5" fmla="*/ 4810715 h 5344791"/>
              <a:gd name="connsiteX6" fmla="*/ 184805 w 7300253"/>
              <a:gd name="connsiteY6" fmla="*/ 449109 h 5344791"/>
              <a:gd name="connsiteX0" fmla="*/ 155498 w 7270946"/>
              <a:gd name="connsiteY0" fmla="*/ 497244 h 5392926"/>
              <a:gd name="connsiteX1" fmla="*/ 677434 w 7270946"/>
              <a:gd name="connsiteY1" fmla="*/ 48135 h 5392926"/>
              <a:gd name="connsiteX2" fmla="*/ 7270946 w 7270946"/>
              <a:gd name="connsiteY2" fmla="*/ 48588 h 5392926"/>
              <a:gd name="connsiteX3" fmla="*/ 7270946 w 7270946"/>
              <a:gd name="connsiteY3" fmla="*/ 5392111 h 5392926"/>
              <a:gd name="connsiteX4" fmla="*/ 661250 w 7270946"/>
              <a:gd name="connsiteY4" fmla="*/ 5392926 h 5392926"/>
              <a:gd name="connsiteX5" fmla="*/ 159544 w 7270946"/>
              <a:gd name="connsiteY5" fmla="*/ 4858850 h 5392926"/>
              <a:gd name="connsiteX6" fmla="*/ 155498 w 7270946"/>
              <a:gd name="connsiteY6" fmla="*/ 497244 h 5392926"/>
              <a:gd name="connsiteX0" fmla="*/ 37199 w 7152647"/>
              <a:gd name="connsiteY0" fmla="*/ 527190 h 5422872"/>
              <a:gd name="connsiteX1" fmla="*/ 559135 w 7152647"/>
              <a:gd name="connsiteY1" fmla="*/ 78081 h 5422872"/>
              <a:gd name="connsiteX2" fmla="*/ 7152647 w 7152647"/>
              <a:gd name="connsiteY2" fmla="*/ 78534 h 5422872"/>
              <a:gd name="connsiteX3" fmla="*/ 7152647 w 7152647"/>
              <a:gd name="connsiteY3" fmla="*/ 5422057 h 5422872"/>
              <a:gd name="connsiteX4" fmla="*/ 542951 w 7152647"/>
              <a:gd name="connsiteY4" fmla="*/ 5422872 h 5422872"/>
              <a:gd name="connsiteX5" fmla="*/ 41245 w 7152647"/>
              <a:gd name="connsiteY5" fmla="*/ 4888796 h 5422872"/>
              <a:gd name="connsiteX6" fmla="*/ 37199 w 7152647"/>
              <a:gd name="connsiteY6" fmla="*/ 527190 h 5422872"/>
              <a:gd name="connsiteX0" fmla="*/ 27 w 7115475"/>
              <a:gd name="connsiteY0" fmla="*/ 522980 h 5418662"/>
              <a:gd name="connsiteX1" fmla="*/ 521963 w 7115475"/>
              <a:gd name="connsiteY1" fmla="*/ 73871 h 5418662"/>
              <a:gd name="connsiteX2" fmla="*/ 7115475 w 7115475"/>
              <a:gd name="connsiteY2" fmla="*/ 74324 h 5418662"/>
              <a:gd name="connsiteX3" fmla="*/ 7115475 w 7115475"/>
              <a:gd name="connsiteY3" fmla="*/ 5417847 h 5418662"/>
              <a:gd name="connsiteX4" fmla="*/ 505779 w 7115475"/>
              <a:gd name="connsiteY4" fmla="*/ 5418662 h 5418662"/>
              <a:gd name="connsiteX5" fmla="*/ 4073 w 7115475"/>
              <a:gd name="connsiteY5" fmla="*/ 4884586 h 5418662"/>
              <a:gd name="connsiteX6" fmla="*/ 27 w 7115475"/>
              <a:gd name="connsiteY6" fmla="*/ 522980 h 5418662"/>
              <a:gd name="connsiteX0" fmla="*/ 161 w 7115609"/>
              <a:gd name="connsiteY0" fmla="*/ 449127 h 5344809"/>
              <a:gd name="connsiteX1" fmla="*/ 522097 w 7115609"/>
              <a:gd name="connsiteY1" fmla="*/ 18 h 5344809"/>
              <a:gd name="connsiteX2" fmla="*/ 7115609 w 7115609"/>
              <a:gd name="connsiteY2" fmla="*/ 471 h 5344809"/>
              <a:gd name="connsiteX3" fmla="*/ 7115609 w 7115609"/>
              <a:gd name="connsiteY3" fmla="*/ 5343994 h 5344809"/>
              <a:gd name="connsiteX4" fmla="*/ 505913 w 7115609"/>
              <a:gd name="connsiteY4" fmla="*/ 5344809 h 5344809"/>
              <a:gd name="connsiteX5" fmla="*/ 4207 w 7115609"/>
              <a:gd name="connsiteY5" fmla="*/ 4810733 h 5344809"/>
              <a:gd name="connsiteX6" fmla="*/ 161 w 7115609"/>
              <a:gd name="connsiteY6" fmla="*/ 449127 h 5344809"/>
              <a:gd name="connsiteX0" fmla="*/ 196 w 7115644"/>
              <a:gd name="connsiteY0" fmla="*/ 449124 h 5344806"/>
              <a:gd name="connsiteX1" fmla="*/ 522132 w 7115644"/>
              <a:gd name="connsiteY1" fmla="*/ 15 h 5344806"/>
              <a:gd name="connsiteX2" fmla="*/ 7115644 w 7115644"/>
              <a:gd name="connsiteY2" fmla="*/ 468 h 5344806"/>
              <a:gd name="connsiteX3" fmla="*/ 7115644 w 7115644"/>
              <a:gd name="connsiteY3" fmla="*/ 5343991 h 5344806"/>
              <a:gd name="connsiteX4" fmla="*/ 505948 w 7115644"/>
              <a:gd name="connsiteY4" fmla="*/ 5344806 h 5344806"/>
              <a:gd name="connsiteX5" fmla="*/ 4242 w 7115644"/>
              <a:gd name="connsiteY5" fmla="*/ 4810730 h 5344806"/>
              <a:gd name="connsiteX6" fmla="*/ 196 w 7115644"/>
              <a:gd name="connsiteY6" fmla="*/ 449124 h 5344806"/>
              <a:gd name="connsiteX0" fmla="*/ 196 w 7115644"/>
              <a:gd name="connsiteY0" fmla="*/ 449132 h 5344814"/>
              <a:gd name="connsiteX1" fmla="*/ 522132 w 7115644"/>
              <a:gd name="connsiteY1" fmla="*/ 23 h 5344814"/>
              <a:gd name="connsiteX2" fmla="*/ 7115644 w 7115644"/>
              <a:gd name="connsiteY2" fmla="*/ 476 h 5344814"/>
              <a:gd name="connsiteX3" fmla="*/ 7115644 w 7115644"/>
              <a:gd name="connsiteY3" fmla="*/ 5343999 h 5344814"/>
              <a:gd name="connsiteX4" fmla="*/ 505948 w 7115644"/>
              <a:gd name="connsiteY4" fmla="*/ 5344814 h 5344814"/>
              <a:gd name="connsiteX5" fmla="*/ 4242 w 7115644"/>
              <a:gd name="connsiteY5" fmla="*/ 4810738 h 5344814"/>
              <a:gd name="connsiteX6" fmla="*/ 196 w 7115644"/>
              <a:gd name="connsiteY6" fmla="*/ 449132 h 5344814"/>
              <a:gd name="connsiteX0" fmla="*/ 21 w 7115469"/>
              <a:gd name="connsiteY0" fmla="*/ 449140 h 5344822"/>
              <a:gd name="connsiteX1" fmla="*/ 521957 w 7115469"/>
              <a:gd name="connsiteY1" fmla="*/ 31 h 5344822"/>
              <a:gd name="connsiteX2" fmla="*/ 7115469 w 7115469"/>
              <a:gd name="connsiteY2" fmla="*/ 484 h 5344822"/>
              <a:gd name="connsiteX3" fmla="*/ 7115469 w 7115469"/>
              <a:gd name="connsiteY3" fmla="*/ 5344007 h 5344822"/>
              <a:gd name="connsiteX4" fmla="*/ 505773 w 7115469"/>
              <a:gd name="connsiteY4" fmla="*/ 5344822 h 5344822"/>
              <a:gd name="connsiteX5" fmla="*/ 4067 w 7115469"/>
              <a:gd name="connsiteY5" fmla="*/ 4810746 h 5344822"/>
              <a:gd name="connsiteX6" fmla="*/ 21 w 7115469"/>
              <a:gd name="connsiteY6" fmla="*/ 449140 h 5344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5469" h="5344822">
                <a:moveTo>
                  <a:pt x="21" y="449140"/>
                </a:moveTo>
                <a:cubicBezTo>
                  <a:pt x="-2303" y="101747"/>
                  <a:pt x="197851" y="-2068"/>
                  <a:pt x="521957" y="31"/>
                </a:cubicBezTo>
                <a:lnTo>
                  <a:pt x="7115469" y="484"/>
                </a:lnTo>
                <a:lnTo>
                  <a:pt x="7115469" y="5344007"/>
                </a:lnTo>
                <a:lnTo>
                  <a:pt x="505773" y="5344822"/>
                </a:lnTo>
                <a:cubicBezTo>
                  <a:pt x="180743" y="5344822"/>
                  <a:pt x="1369" y="5166796"/>
                  <a:pt x="4067" y="4810746"/>
                </a:cubicBezTo>
                <a:cubicBezTo>
                  <a:pt x="4741" y="4820187"/>
                  <a:pt x="2345" y="796533"/>
                  <a:pt x="21" y="44914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6800" y="2286000"/>
            <a:ext cx="4141630" cy="1386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6800" y="3805199"/>
            <a:ext cx="4036789" cy="7488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6800" y="4831200"/>
            <a:ext cx="404301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6800" y="5083200"/>
            <a:ext cx="4043018" cy="489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12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A2EB09B3-85AA-3E4A-E0F4-FE7BA4BA45F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1334169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6800" y="2754000"/>
            <a:ext cx="9972000" cy="918000"/>
          </a:xfrm>
          <a:noFill/>
        </p:spPr>
        <p:txBody>
          <a:bodyPr lIns="0" tIns="0" rIns="0" anchor="b" anchorCtr="0"/>
          <a:lstStyle>
            <a:lvl1pPr>
              <a:lnSpc>
                <a:spcPct val="10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6800" y="3805200"/>
            <a:ext cx="9975600" cy="7488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6800" y="4831200"/>
            <a:ext cx="7869600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6800" y="5083200"/>
            <a:ext cx="7869600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12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4" name="TextBox 3" descr="CONFIDENTIAL_TAG_0xFFEE">
            <a:extLst>
              <a:ext uri="{FF2B5EF4-FFF2-40B4-BE49-F238E27FC236}">
                <a16:creationId xmlns:a16="http://schemas.microsoft.com/office/drawing/2014/main" id="{508C3B44-035D-7658-DB1B-5984128B224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3295842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109140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9C00468B-2739-E7F4-41E0-C4C6C2C895E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2335860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7" t="7660" r="49917" b="6682"/>
          <a:stretch/>
        </p:blipFill>
        <p:spPr>
          <a:xfrm>
            <a:off x="8458199" y="0"/>
            <a:ext cx="3727939" cy="6617454"/>
          </a:xfrm>
          <a:prstGeom prst="rect">
            <a:avLst/>
          </a:prstGeom>
        </p:spPr>
      </p:pic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109140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9F5B8B4C-75F4-9D4D-4128-60686039DD7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462720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52117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028A6519-38DF-282A-7FED-F2DAB43C736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71487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799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86556"/>
            <a:ext cx="10914063" cy="4672967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tabLst/>
              <a:defRPr sz="11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C52CE0CC-8095-B158-852F-DF80861D5F89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792733"/>
      </p:ext>
    </p:extLst>
  </p:cSld>
  <p:clrMapOvr>
    <a:masterClrMapping/>
  </p:clrMapOvr>
  <p:transition/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7" t="31706" r="31262" b="6682"/>
          <a:stretch/>
        </p:blipFill>
        <p:spPr>
          <a:xfrm>
            <a:off x="9355015" y="0"/>
            <a:ext cx="2831124" cy="2606898"/>
          </a:xfrm>
          <a:prstGeom prst="rect">
            <a:avLst/>
          </a:prstGeom>
        </p:spPr>
      </p:pic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472014" y="1666800"/>
            <a:ext cx="5207223" cy="4694237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4" y="1666800"/>
            <a:ext cx="5211763" cy="4694239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/>
            </a:lvl2pPr>
            <a:lvl3pPr marL="459000" indent="-228600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3" name="TextBox 2" descr="CONFIDENTIAL_TAG_0xFFEE">
            <a:extLst>
              <a:ext uri="{FF2B5EF4-FFF2-40B4-BE49-F238E27FC236}">
                <a16:creationId xmlns:a16="http://schemas.microsoft.com/office/drawing/2014/main" id="{540CBFBD-69EA-A8E7-CB59-A8519C1354C7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CONFIDENTIAL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7884947"/>
      </p:ext>
    </p:extLst>
  </p:cSld>
  <p:clrMapOvr>
    <a:masterClrMapping/>
  </p:clrMapOvr>
  <p:transition/>
  <p:hf hdr="0" ft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F599C5-31B7-DB1A-DEBF-053ACC322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736663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50" imgH="350" progId="TCLayout.ActiveDocument.1">
                  <p:embed/>
                </p:oleObj>
              </mc:Choice>
              <mc:Fallback>
                <p:oleObj name="think-cell Slide" r:id="rId25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5175" y="1665289"/>
            <a:ext cx="10914062" cy="46941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/>
        </p:nvSpPr>
        <p:spPr bwMode="gray">
          <a:xfrm>
            <a:off x="-6201" y="508000"/>
            <a:ext cx="1269984" cy="38100"/>
          </a:xfrm>
          <a:prstGeom prst="rect">
            <a:avLst/>
          </a:prstGeom>
          <a:solidFill>
            <a:srgbClr val="FFC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Footer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Company name appears here</a:t>
            </a:r>
          </a:p>
        </p:txBody>
      </p:sp>
      <p:sp>
        <p:nvSpPr>
          <p:cNvPr id="95" name="Rectangle 94" descr="&lt;Shell Yellow Bar&gt;" title="&lt;Shell Yellow Bar&gt;"/>
          <p:cNvSpPr/>
          <p:nvPr/>
        </p:nvSpPr>
        <p:spPr bwMode="gray">
          <a:xfrm>
            <a:off x="-3222" y="6820523"/>
            <a:ext cx="12193200" cy="38100"/>
          </a:xfrm>
          <a:prstGeom prst="rect">
            <a:avLst/>
          </a:prstGeom>
          <a:solidFill>
            <a:srgbClr val="FFC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057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</p:sldLayoutIdLst>
  <p:transition>
    <p:fade/>
  </p:transition>
  <p:hf hdr="0" ft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75000"/>
        <a:buFont typeface="Wingdings" panose="05000000000000000000" pitchFamily="2" charset="2"/>
        <a:buChar char="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100000"/>
        <a:buFont typeface="Wingdings" panose="05000000000000000000" pitchFamily="2" charset="2"/>
        <a:buChar char="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104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18">
          <p15:clr>
            <a:srgbClr val="F26B43"/>
          </p15:clr>
        </p15:guide>
        <p15:guide id="14" orient="horz" pos="4225">
          <p15:clr>
            <a:srgbClr val="F26B43"/>
          </p15:clr>
        </p15:guide>
        <p15:guide id="15" pos="482">
          <p15:clr>
            <a:srgbClr val="F26B43"/>
          </p15:clr>
        </p15:guide>
        <p15:guide id="16" pos="642">
          <p15:clr>
            <a:srgbClr val="F26B43"/>
          </p15:clr>
        </p15:guide>
        <p15:guide id="17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69_D96C263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B50B252-FCE2-F8FA-FF0B-8308986DA7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984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Maritime Assurance 	</a:t>
            </a:r>
          </a:p>
        </p:txBody>
      </p:sp>
      <p:sp>
        <p:nvSpPr>
          <p:cNvPr id="23" name="Subtitle 2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Data Exploration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Gavin van der Nes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enior Statistici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1</a:t>
            </a:fld>
            <a:endParaRPr lang="en-GB" noProof="1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/>
              <a:t>August 2024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F8410-D977-122D-1D6E-10F2A3DF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984251-EFF9-A604-835E-B0EB5CA5399D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Vessel Selection: </a:t>
            </a:r>
          </a:p>
          <a:p>
            <a:endParaRPr lang="en-US" dirty="0"/>
          </a:p>
          <a:p>
            <a:r>
              <a:rPr lang="en-US" dirty="0"/>
              <a:t>SIRE reports: 200-300 questions, 30-40 master mariners  review reports and give risk ratings. </a:t>
            </a:r>
          </a:p>
          <a:p>
            <a:endParaRPr lang="en-US" dirty="0"/>
          </a:p>
          <a:p>
            <a:r>
              <a:rPr lang="en-US" dirty="0"/>
              <a:t>Team of 30 professionals, experience bias. Serious incident review: incident where 2 died due to freak wave on deck. E.g. people who experienced that type of incident when they were ship pilots will be more risk averse/ perceptive to threat.  </a:t>
            </a:r>
          </a:p>
          <a:p>
            <a:endParaRPr lang="en-US" dirty="0"/>
          </a:p>
          <a:p>
            <a:r>
              <a:rPr lang="en-US" dirty="0"/>
              <a:t>2000 incidents per year, can't review them all. </a:t>
            </a:r>
          </a:p>
          <a:p>
            <a:endParaRPr lang="en-US" dirty="0"/>
          </a:p>
          <a:p>
            <a:r>
              <a:rPr lang="en-US" dirty="0"/>
              <a:t>Have a nice tool which brings together information about Shell's fleet and 3rd party vessels: their specs/operational constraints, safety data like incident reports (textual data - NLP).  </a:t>
            </a:r>
          </a:p>
          <a:p>
            <a:endParaRPr lang="en-US" dirty="0"/>
          </a:p>
          <a:p>
            <a:r>
              <a:rPr lang="en-US" dirty="0"/>
              <a:t>Currently just the last report being reviewed for a vessel, and then it's marked eligible. Would like to get a risk rating.  </a:t>
            </a:r>
          </a:p>
          <a:p>
            <a:endParaRPr lang="en-US" dirty="0"/>
          </a:p>
          <a:p>
            <a:r>
              <a:rPr lang="en-US" dirty="0"/>
              <a:t>Validity of report usually a year, if any longer then have to do manual review of vessel.  </a:t>
            </a:r>
          </a:p>
          <a:p>
            <a:endParaRPr lang="en-US" dirty="0"/>
          </a:p>
          <a:p>
            <a:r>
              <a:rPr lang="en-US" dirty="0"/>
              <a:t>Only get an' observation' if answer is NO ('negative response') </a:t>
            </a:r>
          </a:p>
          <a:p>
            <a:endParaRPr lang="en-US" dirty="0"/>
          </a:p>
          <a:p>
            <a:r>
              <a:rPr lang="en-US" dirty="0"/>
              <a:t>Initial manager comment is secondary, might be a final one too.  </a:t>
            </a:r>
          </a:p>
          <a:p>
            <a:endParaRPr lang="en-US" dirty="0"/>
          </a:p>
          <a:p>
            <a:r>
              <a:rPr lang="en-US" dirty="0"/>
              <a:t>KLM: 10 is high, 3, is medium, 1 is low. Potential risk value is system generated. The observed and final risks are the decisions the master mariners in the team are making. Will only be something if there is a NO. </a:t>
            </a:r>
          </a:p>
          <a:p>
            <a:endParaRPr lang="en-US" dirty="0"/>
          </a:p>
          <a:p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  </a:t>
            </a:r>
          </a:p>
          <a:p>
            <a:endParaRPr lang="en-US" dirty="0"/>
          </a:p>
          <a:p>
            <a:r>
              <a:rPr lang="en-US" dirty="0"/>
              <a:t>Suggesting time to do inspection / new review would be good. Quality mindset: what would be interval want to do inspections based on historical data (when did it last fail, what for, …) </a:t>
            </a:r>
          </a:p>
          <a:p>
            <a:endParaRPr lang="en-US" dirty="0"/>
          </a:p>
          <a:p>
            <a:r>
              <a:rPr lang="en-US" dirty="0"/>
              <a:t>Currently rigid process uniform for all vessels but e.g. location risk is not considered. 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3C69CD-5D1B-C5F3-1B14-7AAD0164E7E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64BD1A-8775-34D8-DC9C-2DB93EB85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2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404507407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ECF594-E24E-FB2B-ADB4-386ADEB6AC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4966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8000" y="712799"/>
            <a:ext cx="11171238" cy="808025"/>
          </a:xfrm>
        </p:spPr>
        <p:txBody>
          <a:bodyPr vert="horz"/>
          <a:lstStyle/>
          <a:p>
            <a:r>
              <a:rPr lang="en-GB" dirty="0"/>
              <a:t>Data Preparation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765174" y="1686556"/>
            <a:ext cx="10914063" cy="4672967"/>
          </a:xfrm>
        </p:spPr>
        <p:txBody>
          <a:bodyPr/>
          <a:lstStyle/>
          <a:p>
            <a:pPr lvl="1"/>
            <a:r>
              <a:rPr lang="en-GB" dirty="0"/>
              <a:t>Data Fields:</a:t>
            </a:r>
          </a:p>
          <a:p>
            <a:pPr lvl="2"/>
            <a:r>
              <a:rPr lang="en-GB" dirty="0"/>
              <a:t>VIQ7 questionnaire responses (negative only)</a:t>
            </a:r>
          </a:p>
          <a:p>
            <a:pPr lvl="2"/>
            <a:r>
              <a:rPr lang="en-GB" dirty="0"/>
              <a:t>Initial, observed, and final risk ratings:</a:t>
            </a:r>
          </a:p>
          <a:p>
            <a:pPr lvl="3"/>
            <a:r>
              <a:rPr lang="en-GB" dirty="0"/>
              <a:t>Is there a standardized rubric for decision making?</a:t>
            </a:r>
          </a:p>
          <a:p>
            <a:pPr lvl="3"/>
            <a:r>
              <a:rPr lang="en-GB" dirty="0"/>
              <a:t>Vessel info, incident reports, inspections (frequency), knowledge of crew &amp; route</a:t>
            </a:r>
          </a:p>
          <a:p>
            <a:pPr lvl="2"/>
            <a:r>
              <a:rPr lang="en-GB" dirty="0"/>
              <a:t>Vessel details (outstanding): type, size, age, operator</a:t>
            </a:r>
          </a:p>
          <a:p>
            <a:pPr lvl="2"/>
            <a:r>
              <a:rPr lang="en-GB" dirty="0"/>
              <a:t>Assessor details (location, background)</a:t>
            </a:r>
          </a:p>
          <a:p>
            <a:pPr lvl="1"/>
            <a:r>
              <a:rPr lang="en-GB" dirty="0"/>
              <a:t>Data cleaning and transformation:</a:t>
            </a:r>
          </a:p>
          <a:p>
            <a:pPr lvl="2"/>
            <a:r>
              <a:rPr lang="en-GB" dirty="0"/>
              <a:t>Filter: Extract only negative responses [</a:t>
            </a:r>
            <a:r>
              <a:rPr lang="en-GB" dirty="0">
                <a:highlight>
                  <a:srgbClr val="FFFF00"/>
                </a:highlight>
              </a:rPr>
              <a:t>Specific column - definition</a:t>
            </a:r>
            <a:r>
              <a:rPr lang="en-GB" dirty="0"/>
              <a:t>] from raw data</a:t>
            </a:r>
          </a:p>
          <a:p>
            <a:pPr lvl="2"/>
            <a:r>
              <a:rPr lang="en-GB" dirty="0"/>
              <a:t>Consistency check: Validate for missing values, duplicates (currently many rows are exact duplicates), and inconsistencies</a:t>
            </a:r>
          </a:p>
          <a:p>
            <a:pPr lvl="2"/>
            <a:r>
              <a:rPr lang="en-GB" dirty="0"/>
              <a:t>Missing responses: Drop or impute?</a:t>
            </a:r>
          </a:p>
          <a:p>
            <a:pPr lvl="2"/>
            <a:r>
              <a:rPr lang="en-GB" dirty="0"/>
              <a:t>Normalization: Standardize data format – risk ratings [difference in Q – default value]?</a:t>
            </a:r>
          </a:p>
          <a:p>
            <a:pPr lvl="1"/>
            <a:r>
              <a:rPr lang="en-GB" dirty="0"/>
              <a:t>Data Integration:</a:t>
            </a:r>
          </a:p>
          <a:p>
            <a:pPr lvl="2"/>
            <a:r>
              <a:rPr lang="en-GB" dirty="0"/>
              <a:t>Combine datasets: Merge information from different sources (e.g., vessel details with questionnaire responses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9670343" y="6469200"/>
            <a:ext cx="1440000" cy="237600"/>
          </a:xfrm>
        </p:spPr>
        <p:txBody>
          <a:bodyPr/>
          <a:lstStyle/>
          <a:p>
            <a:r>
              <a:rPr lang="en-GB" noProof="1"/>
              <a:t>August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24177" y="6469199"/>
            <a:ext cx="355564" cy="237600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3</a:t>
            </a:fld>
            <a:endParaRPr lang="en-GB" noProof="1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877056" y="6469199"/>
            <a:ext cx="4435312" cy="237600"/>
          </a:xfrm>
        </p:spPr>
        <p:txBody>
          <a:bodyPr/>
          <a:lstStyle/>
          <a:p>
            <a:r>
              <a:rPr lang="en-GB" noProof="1"/>
              <a:t>Footer</a:t>
            </a: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ECF594-E24E-FB2B-ADB4-386ADEB6AC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9842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ECF594-E24E-FB2B-ADB4-386ADEB6AC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8000" y="712799"/>
            <a:ext cx="11171238" cy="808025"/>
          </a:xfrm>
        </p:spPr>
        <p:txBody>
          <a:bodyPr vert="horz"/>
          <a:lstStyle/>
          <a:p>
            <a:r>
              <a:rPr lang="en-GB" dirty="0"/>
              <a:t>Data Quality and Consistency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765174" y="1686556"/>
            <a:ext cx="10914063" cy="4672967"/>
          </a:xfrm>
        </p:spPr>
        <p:txBody>
          <a:bodyPr/>
          <a:lstStyle/>
          <a:p>
            <a:pPr lvl="1"/>
            <a:r>
              <a:rPr lang="en-US" dirty="0"/>
              <a:t>Quality Analysis:</a:t>
            </a:r>
          </a:p>
          <a:p>
            <a:pPr lvl="2"/>
            <a:r>
              <a:rPr lang="en-US" dirty="0"/>
              <a:t>Completeness: Check for missing values or incomplete records.</a:t>
            </a:r>
          </a:p>
          <a:p>
            <a:pPr lvl="2"/>
            <a:r>
              <a:rPr lang="en-US" dirty="0"/>
              <a:t>Consistency: Verify that risk ratings are consistently applied across different assessors and locations.</a:t>
            </a:r>
          </a:p>
          <a:p>
            <a:pPr lvl="1"/>
            <a:r>
              <a:rPr lang="en-US" dirty="0"/>
              <a:t>Variability Analysis:</a:t>
            </a:r>
          </a:p>
          <a:p>
            <a:pPr lvl="2"/>
            <a:r>
              <a:rPr lang="en-US" dirty="0"/>
              <a:t>Inter-Rater Reliability: Use metrics like Kappa or ICC [define] to assess the agreement between observed and final risk ratings among different assessors.</a:t>
            </a:r>
          </a:p>
          <a:p>
            <a:pPr lvl="2"/>
            <a:r>
              <a:rPr lang="en-US" dirty="0"/>
              <a:t>Regional and Background Differences: Compare ratings across different locations and assessor backgrounds to identify any significant patterns or biases.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9670343" y="6469200"/>
            <a:ext cx="1440000" cy="237600"/>
          </a:xfrm>
        </p:spPr>
        <p:txBody>
          <a:bodyPr/>
          <a:lstStyle/>
          <a:p>
            <a:r>
              <a:rPr lang="en-GB" noProof="1"/>
              <a:t>August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24177" y="6469199"/>
            <a:ext cx="355564" cy="237600"/>
          </a:xfrm>
        </p:spPr>
        <p:txBody>
          <a:bodyPr/>
          <a:lstStyle/>
          <a:p>
            <a:fld id="{D32BAE6A-B452-4007-8177-56DD051636F9}" type="slidenum">
              <a:rPr lang="en-GB" noProof="1" smtClean="0"/>
              <a:pPr/>
              <a:t>4</a:t>
            </a:fld>
            <a:endParaRPr lang="en-GB" noProof="1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877056" y="6469199"/>
            <a:ext cx="4435312" cy="237600"/>
          </a:xfrm>
        </p:spPr>
        <p:txBody>
          <a:bodyPr/>
          <a:lstStyle/>
          <a:p>
            <a:r>
              <a:rPr lang="en-GB" noProof="1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64953536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87A49F-63EE-E989-A23E-D1BC2A3101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625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0D28F4-38AE-C981-7716-1C4E076D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Question Level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D96274-47C6-4366-C578-C29AF8BB7F05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lvl="1"/>
            <a:r>
              <a:rPr lang="en-GB" dirty="0"/>
              <a:t>Risk Ratings Comparison:</a:t>
            </a:r>
          </a:p>
          <a:p>
            <a:pPr lvl="2"/>
            <a:r>
              <a:rPr lang="en-GB" dirty="0"/>
              <a:t>Initial vs. Observed vs. Final Risks: Perform statistical tests to compare the risk ratings at different stages (initial, observed, final).</a:t>
            </a:r>
          </a:p>
          <a:p>
            <a:pPr lvl="2"/>
            <a:r>
              <a:rPr lang="en-GB" dirty="0"/>
              <a:t>Tailored Risk Ratings: Investigate if different vessel types require tailored initial risk ratings.</a:t>
            </a:r>
          </a:p>
          <a:p>
            <a:pPr lvl="1"/>
            <a:r>
              <a:rPr lang="en-GB" dirty="0"/>
              <a:t>Trend Analysis:</a:t>
            </a:r>
          </a:p>
          <a:p>
            <a:pPr lvl="2"/>
            <a:r>
              <a:rPr lang="en-GB" dirty="0"/>
              <a:t>Temporal Patterns: Examine how risk ratings and decision patterns change over tim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CA75CA-4F24-B5C7-CF4C-DCA2CB834A1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7806A7-2C92-8C61-38ED-5F6867F149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5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34753361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B3938B0-0C31-7DBD-FA55-1E6FAB7202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893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67DC8A-513F-346E-5C0F-1EEE6BDA1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Vessel Type and Attribute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BB209-31B9-B73B-B165-8BED0CB02F3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lvl="1"/>
            <a:r>
              <a:rPr lang="en-US" dirty="0"/>
              <a:t>Attribute Analysis:</a:t>
            </a:r>
          </a:p>
          <a:p>
            <a:pPr lvl="2"/>
            <a:r>
              <a:rPr lang="en-US" dirty="0"/>
              <a:t>By Vessel Type: Analyze whether risk ratings vary by vessel type (e.g., Oil, Chemical, LNG).</a:t>
            </a:r>
          </a:p>
          <a:p>
            <a:pPr lvl="2"/>
            <a:r>
              <a:rPr lang="en-US" dirty="0"/>
              <a:t>By Vessel Characteristics: Look at how factors like vessel size and age affect risk ratings.</a:t>
            </a:r>
          </a:p>
          <a:p>
            <a:pPr lvl="1"/>
            <a:r>
              <a:rPr lang="en-US" dirty="0"/>
              <a:t>Statistical Tests:</a:t>
            </a:r>
          </a:p>
          <a:p>
            <a:pPr lvl="2"/>
            <a:r>
              <a:rPr lang="en-US" dirty="0"/>
              <a:t>ANOVA or Kruskal-Wallis Test: Use these tests to compare risk ratings across different vessel types and characteristics.</a:t>
            </a:r>
          </a:p>
          <a:p>
            <a:pPr lvl="2"/>
            <a:r>
              <a:rPr lang="en-US" dirty="0">
                <a:highlight>
                  <a:srgbClr val="FFFF00"/>
                </a:highlight>
              </a:rPr>
              <a:t>[Intro slide about idea approaches / not solutions]</a:t>
            </a:r>
            <a:endParaRPr lang="en-GB" dirty="0">
              <a:highlight>
                <a:srgbClr val="FFFF00"/>
              </a:highlight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68DEA-D17B-B488-BF61-7113D04CF50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1A7EA1-4AA0-DCD7-84EA-D259114076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6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405621048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135C431-92C4-2E74-9CB6-01409DDB57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7996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0D1687-730A-EA9E-C60F-9D4B34754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andling Missing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D04BF9-4E8C-6C92-1ABE-4EC92867B3FF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lvl="1"/>
            <a:r>
              <a:rPr lang="en-GB" dirty="0"/>
              <a:t>Data Gaps Analysis:</a:t>
            </a:r>
          </a:p>
          <a:p>
            <a:pPr lvl="2"/>
            <a:r>
              <a:rPr lang="en-GB" dirty="0"/>
              <a:t>Identify Missing Data: Determine what data is missing for cross-comparison between OCIMF submitting members.</a:t>
            </a:r>
          </a:p>
          <a:p>
            <a:pPr lvl="2"/>
            <a:r>
              <a:rPr lang="en-GB" dirty="0"/>
              <a:t>Synthetic Data: Create a synthetic dataset if necessary to illustrate how missing data impacts analysis and to propose solutions for data collection. [EXAMPLE: Multiple master mariners / experts (raters) per independent case/]</a:t>
            </a:r>
          </a:p>
          <a:p>
            <a:pPr lvl="1"/>
            <a:r>
              <a:rPr lang="en-GB" dirty="0"/>
              <a:t>Data Imputation:</a:t>
            </a:r>
          </a:p>
          <a:p>
            <a:pPr lvl="2"/>
            <a:r>
              <a:rPr lang="en-GB" dirty="0"/>
              <a:t>Techniques: Use imputation techniques (e.g., mean imputation, regression imputation) to fill in gaps where feasibl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347DF2-4625-5C24-6168-32976702F73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761B17-6BEB-80BA-0965-0B42E2B797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7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99025214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43E315B-76BA-3624-0DCD-604AA398C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1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44344A6-ECA3-630F-07CB-FAA59B298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DA (exploratory d analysis)</a:t>
            </a:r>
          </a:p>
        </p:txBody>
      </p:sp>
      <p:pic>
        <p:nvPicPr>
          <p:cNvPr id="14" name="Content Placeholder 13" descr="A screenshot of a graph&#10;&#10;Description automatically generated">
            <a:extLst>
              <a:ext uri="{FF2B5EF4-FFF2-40B4-BE49-F238E27FC236}">
                <a16:creationId xmlns:a16="http://schemas.microsoft.com/office/drawing/2014/main" id="{474B1DE7-96D8-96D1-8A73-D6474C8B23D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93" y="1319972"/>
            <a:ext cx="6095139" cy="3872630"/>
          </a:xfr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CF1EA8-49EE-C010-CD0C-4F78140D84D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FB6ED3-8BB4-1AAB-0CFC-A671B4030D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8</a:t>
            </a:fld>
            <a:endParaRPr lang="en-GB" noProof="1"/>
          </a:p>
        </p:txBody>
      </p:sp>
      <p:pic>
        <p:nvPicPr>
          <p:cNvPr id="16" name="Picture 15" descr="A screenshot of a graph&#10;&#10;Description automatically generated">
            <a:extLst>
              <a:ext uri="{FF2B5EF4-FFF2-40B4-BE49-F238E27FC236}">
                <a16:creationId xmlns:a16="http://schemas.microsoft.com/office/drawing/2014/main" id="{A93A8CBB-7830-6B0E-B59C-BFF9D81B3DD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397" y="1021168"/>
            <a:ext cx="6345340" cy="403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743540"/>
      </p:ext>
    </p:extLst>
  </p:cSld>
  <p:clrMapOvr>
    <a:masterClrMapping/>
  </p:clrMapOvr>
  <p:transition/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6A93E6B-5006-E5E2-EDB5-6374257813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934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C832EF-8E93-E2C5-5AF9-313BDC6EF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ext Steps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93DC29-1FCB-D26E-EA3D-DC299D148DD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Desire to move away from binary logic for fields which have a degree of greyscale. Can this crew field this vessel is not a yes/no, is the vessel safe is not a yes/no but rather a scale of risk. Longer term ambition to combine these fields in such a way that a level of risk is communicated rather than just a binary outcome. [Develop a risk rating from 0 – 10 scaled according to risk of voyage failure] </a:t>
            </a:r>
          </a:p>
          <a:p>
            <a:endParaRPr lang="en-US" dirty="0"/>
          </a:p>
          <a:p>
            <a:r>
              <a:rPr lang="en-US" dirty="0"/>
              <a:t>  </a:t>
            </a:r>
          </a:p>
          <a:p>
            <a:endParaRPr lang="en-US" dirty="0"/>
          </a:p>
          <a:p>
            <a:r>
              <a:rPr lang="en-US" dirty="0"/>
              <a:t>Currently just the last report being reviewed for a vessel, and then it's marked </a:t>
            </a:r>
            <a:r>
              <a:rPr lang="en-US" dirty="0" err="1"/>
              <a:t>elligible</a:t>
            </a:r>
            <a:r>
              <a:rPr lang="en-US" dirty="0"/>
              <a:t>. Would like to get a risk rating </a:t>
            </a:r>
          </a:p>
          <a:p>
            <a:endParaRPr lang="en-US" dirty="0"/>
          </a:p>
          <a:p>
            <a:r>
              <a:rPr lang="en-US" dirty="0"/>
              <a:t>  </a:t>
            </a:r>
          </a:p>
          <a:p>
            <a:endParaRPr lang="en-US" dirty="0"/>
          </a:p>
          <a:p>
            <a:r>
              <a:rPr lang="en-US" dirty="0"/>
              <a:t>With incident reports being key input here, there is an NLP [What is NLP? Natural language processing?] component to this project also. Though it's in early phases. </a:t>
            </a:r>
          </a:p>
          <a:p>
            <a:endParaRPr lang="en-US" dirty="0"/>
          </a:p>
          <a:p>
            <a:r>
              <a:rPr lang="en-US" sz="1800" b="0" i="0" u="none" strike="noStrike" dirty="0">
                <a:effectLst/>
                <a:latin typeface="Calibri" panose="020F0502020204030204" pitchFamily="34" charset="0"/>
              </a:rPr>
              <a:t>Interesting question from Emma: Can we look back at incident data as a covariate to explain e.g. </a:t>
            </a:r>
            <a:r>
              <a:rPr lang="en-US" sz="1800" b="0" i="0" u="none" strike="noStrike">
                <a:effectLst/>
                <a:latin typeface="Calibri" panose="020F0502020204030204" pitchFamily="34" charset="0"/>
              </a:rPr>
              <a:t>increased risk aversion in maritime experts decision making over time? </a:t>
            </a:r>
            <a:r>
              <a:rPr lang="en-US" sz="1800" b="0" i="0">
                <a:effectLst/>
                <a:latin typeface="Calibri" panose="020F0502020204030204" pitchFamily="34" charset="0"/>
              </a:rPr>
              <a:t> 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A9E958-8DDC-EF5C-F2B7-09A05D2B7B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Leading Questions</a:t>
            </a:r>
          </a:p>
          <a:p>
            <a:pPr marL="342900" indent="-342900">
              <a:buAutoNum type="arabicPeriod"/>
            </a:pPr>
            <a:r>
              <a:rPr lang="en-GB" dirty="0">
                <a:highlight>
                  <a:srgbClr val="FFFF00"/>
                </a:highlight>
              </a:rPr>
              <a:t>Absence of comparable data [how to visually illustrate: user as row and cases as column – diagonal matrix with …] </a:t>
            </a:r>
            <a:r>
              <a:rPr lang="en-GB" dirty="0"/>
              <a:t>– difference on outcome on given question – what do we do about this – synthetic data – case gathering higher quality data.</a:t>
            </a:r>
          </a:p>
          <a:p>
            <a:pPr marL="342900" indent="-342900">
              <a:buAutoNum type="arabicPeriod"/>
            </a:pPr>
            <a:r>
              <a:rPr lang="en-GB" dirty="0"/>
              <a:t>Extra data fields to support analysis</a:t>
            </a:r>
          </a:p>
          <a:p>
            <a:pPr marL="342900" indent="-342900">
              <a:buAutoNum type="arabicPeriod"/>
            </a:pPr>
            <a:r>
              <a:rPr lang="en-GB" dirty="0"/>
              <a:t>Give an idea of which questions are most NB (weighting)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BAF535-EF7B-9D8A-3E33-070119675C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GB" noProof="1"/>
              <a:t>August 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5FDBDA-AED6-706B-9694-37221246F6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9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22785989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 2024">
      <a:dk1>
        <a:srgbClr val="4A4A4A"/>
      </a:dk1>
      <a:lt1>
        <a:srgbClr val="FFFFFF"/>
      </a:lt1>
      <a:dk2>
        <a:srgbClr val="919191"/>
      </a:dk2>
      <a:lt2>
        <a:srgbClr val="F5F5F5"/>
      </a:lt2>
      <a:accent1>
        <a:srgbClr val="FFC600"/>
      </a:accent1>
      <a:accent2>
        <a:srgbClr val="DD1D21"/>
      </a:accent2>
      <a:accent3>
        <a:srgbClr val="336094"/>
      </a:accent3>
      <a:accent4>
        <a:srgbClr val="86207C"/>
      </a:accent4>
      <a:accent5>
        <a:srgbClr val="617E31"/>
      </a:accent5>
      <a:accent6>
        <a:srgbClr val="ED8A00"/>
      </a:accent6>
      <a:hlink>
        <a:srgbClr val="336094"/>
      </a:hlink>
      <a:folHlink>
        <a:srgbClr val="336094"/>
      </a:folHlink>
    </a:clrScheme>
    <a:fontScheme name="Shell Font Theme">
      <a:majorFont>
        <a:latin typeface="ShellHeavy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30400" indent="-230400" defTabSz="357708">
          <a:lnSpc>
            <a:spcPct val="140000"/>
          </a:lnSpc>
          <a:buClr>
            <a:schemeClr val="accent2"/>
          </a:buClr>
          <a:buSzPct val="75000"/>
          <a:buFont typeface="Wingdings" panose="05000000000000000000" pitchFamily="2" charset="2"/>
          <a:buChar char=""/>
          <a:defRPr sz="1800" dirty="0" err="1"/>
        </a:defPPr>
      </a:lstStyle>
    </a:txDef>
  </a:objectDefaults>
  <a:extraClrSchemeLst/>
  <a:custClrLst>
    <a:custClr name="Main Yellow 200">
      <a:srgbClr val="FFC600"/>
    </a:custClr>
    <a:custClr name="Main Shell Red">
      <a:srgbClr val="DD1D21"/>
    </a:custClr>
    <a:custClr name="Main Shell Grey 700">
      <a:srgbClr val="4A4A4A"/>
    </a:custClr>
    <a:custClr name="Main Night 600">
      <a:srgbClr val="336094"/>
    </a:custClr>
    <a:custClr name="Main Ocean 400">
      <a:srgbClr val="0097A9"/>
    </a:custClr>
    <a:custClr name="Main Sky 400">
      <a:srgbClr val="0097BB"/>
    </a:custClr>
    <a:custClr name="Main Violet 500">
      <a:srgbClr val="9A60A4"/>
    </a:custClr>
    <a:custClr name="Main Sunset 500">
      <a:srgbClr val="D54410"/>
    </a:custClr>
    <a:custClr name="Main Sand 100">
      <a:srgbClr val="E1DDA9"/>
    </a:custClr>
    <a:custClr name="Main Earth 700">
      <a:srgbClr val="743A1E"/>
    </a:custClr>
    <a:custClr name="Shell Yellow 50">
      <a:srgbClr val="FFF7B4"/>
    </a:custClr>
    <a:custClr name="Shell Red 300">
      <a:srgbClr val="FF887B"/>
    </a:custClr>
    <a:custClr name="Shell Grey 900">
      <a:srgbClr val="292929"/>
    </a:custClr>
    <a:custClr name="Night 400">
      <a:srgbClr val="6E94C0"/>
    </a:custClr>
    <a:custClr name="Ocean 600">
      <a:srgbClr val="006B7B"/>
    </a:custClr>
    <a:custClr name="Sky 200">
      <a:srgbClr val="95C9DC"/>
    </a:custClr>
    <a:custClr name="Violet 300">
      <a:srgbClr val="C39EC9"/>
    </a:custClr>
    <a:custClr name="Sunset 300">
      <a:srgbClr val="FF8966"/>
    </a:custClr>
    <a:custClr name="Sand 400">
      <a:srgbClr val="979361"/>
    </a:custClr>
    <a:custClr name="Earth 500">
      <a:srgbClr val="9E684F"/>
    </a:custClr>
    <a:custClr name="White">
      <a:srgbClr val="FFFFFF"/>
    </a:custClr>
    <a:custClr name="Shell Red 100">
      <a:srgbClr val="FFD6D0"/>
    </a:custClr>
    <a:custClr name="Shell Grey 400">
      <a:srgbClr val="919191"/>
    </a:custClr>
    <a:custClr name="Night 200">
      <a:srgbClr val="ACC3DE"/>
    </a:custClr>
    <a:custClr name="Ocean 200">
      <a:srgbClr val="81CCD9"/>
    </a:custClr>
    <a:custClr name="Main Forrest 500">
      <a:srgbClr val="008557"/>
    </a:custClr>
    <a:custClr name="Violet 100">
      <a:srgbClr val="E9DBEB"/>
    </a:custClr>
    <a:custClr name="Sunset 100">
      <a:srgbClr val="FFD7C8"/>
    </a:custClr>
    <a:custClr name="Main Stone 300">
      <a:srgbClr val="B6B099"/>
    </a:custClr>
    <a:custClr name="Earth 300&#10;">
      <a:srgbClr val="C3A494"/>
    </a:custClr>
    <a:custClr name="White">
      <a:srgbClr val="FFFFFF"/>
    </a:custClr>
    <a:custClr name="White">
      <a:srgbClr val="FFFFFF"/>
    </a:custClr>
    <a:custClr name="Grey 50">
      <a:srgbClr val="F5F5F5"/>
    </a:custClr>
    <a:custClr name="Main Grass 200">
      <a:srgbClr val="A0C963"/>
    </a:custClr>
    <a:custClr name="Main Seaweed 300">
      <a:srgbClr val="A8B11A"/>
    </a:custClr>
    <a:custClr name="Forrest 300">
      <a:srgbClr val="6FB993"/>
    </a:custClr>
    <a:custClr name="Main Berry 700">
      <a:srgbClr val="86207C"/>
    </a:custClr>
    <a:custClr name="Main Sunrise 300">
      <a:srgbClr val="ED8A00"/>
    </a:custClr>
    <a:custClr name="Stone 100">
      <a:srgbClr val="E4DFC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eaweed 100">
      <a:srgbClr val="DDE599"/>
    </a:custClr>
    <a:custClr name="Forrest 100">
      <a:srgbClr val="CBE6D7"/>
    </a:custClr>
    <a:custClr name="Berry 500">
      <a:srgbClr val="A65A9B"/>
    </a:custClr>
    <a:custClr name="Sunrise 100">
      <a:srgbClr val="FFDAAE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esentation7" id="{75055A8D-890A-455C-A8B4-EF517C78C3CD}" vid="{2E9549D9-0C92-43E2-9274-B7030F940C4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0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1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2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3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4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5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6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7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8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19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2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20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21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22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3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4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5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6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7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8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ppt/theme/themeOverride9.xml><?xml version="1.0" encoding="utf-8"?>
<a:themeOverride xmlns:a="http://schemas.openxmlformats.org/drawingml/2006/main">
  <a:clrScheme name="Shell Colour Palette 2024">
    <a:dk1>
      <a:srgbClr val="4A4A4A"/>
    </a:dk1>
    <a:lt1>
      <a:srgbClr val="FFFFFF"/>
    </a:lt1>
    <a:dk2>
      <a:srgbClr val="919191"/>
    </a:dk2>
    <a:lt2>
      <a:srgbClr val="F5F5F5"/>
    </a:lt2>
    <a:accent1>
      <a:srgbClr val="FFC600"/>
    </a:accent1>
    <a:accent2>
      <a:srgbClr val="DD1D21"/>
    </a:accent2>
    <a:accent3>
      <a:srgbClr val="336094"/>
    </a:accent3>
    <a:accent4>
      <a:srgbClr val="86207C"/>
    </a:accent4>
    <a:accent5>
      <a:srgbClr val="617E31"/>
    </a:accent5>
    <a:accent6>
      <a:srgbClr val="ED8A00"/>
    </a:accent6>
    <a:hlink>
      <a:srgbClr val="336094"/>
    </a:hlink>
    <a:folHlink>
      <a:srgbClr val="336094"/>
    </a:folHlink>
  </a:clrScheme>
</a:themeOverrid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1 - Widescreen Shell template - 16x9</Template>
  <TotalTime>88</TotalTime>
  <Words>1050</Words>
  <Application>Microsoft Office PowerPoint</Application>
  <PresentationFormat>Widescreen</PresentationFormat>
  <Paragraphs>112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ShellHeavy</vt:lpstr>
      <vt:lpstr>ShellMedium</vt:lpstr>
      <vt:lpstr>Wingdings</vt:lpstr>
      <vt:lpstr>Shell layouts with footer</vt:lpstr>
      <vt:lpstr>think-cell Slide</vt:lpstr>
      <vt:lpstr>Maritime Assurance  </vt:lpstr>
      <vt:lpstr>PowerPoint Presentation</vt:lpstr>
      <vt:lpstr>Data Preparation</vt:lpstr>
      <vt:lpstr>Data Quality and Consistency</vt:lpstr>
      <vt:lpstr>Question Level Analysis</vt:lpstr>
      <vt:lpstr>Vessel Type and Attribute Analysis</vt:lpstr>
      <vt:lpstr>Handling Missing Data</vt:lpstr>
      <vt:lpstr>EDA (exploratory d analysis)</vt:lpstr>
      <vt:lpstr>Next Step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 der Nest, Gavin SITI-PTIX/DS</dc:creator>
  <cp:lastModifiedBy>van der Nest, Gavin SITI-PTIX/DS</cp:lastModifiedBy>
  <cp:revision>13</cp:revision>
  <dcterms:created xsi:type="dcterms:W3CDTF">2024-08-08T09:10:10Z</dcterms:created>
  <dcterms:modified xsi:type="dcterms:W3CDTF">2024-08-08T10:38:17Z</dcterms:modified>
  <cp:category>Shell_IC: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6</vt:i4>
  </property>
</Properties>
</file>